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4"/>
  </p:sldMasterIdLst>
  <p:notesMasterIdLst>
    <p:notesMasterId r:id="rId6"/>
  </p:notesMasterIdLst>
  <p:handoutMasterIdLst>
    <p:handoutMasterId r:id="rId7"/>
  </p:handoutMasterIdLst>
  <p:sldIdLst>
    <p:sldId id="1331" r:id="rId5"/>
  </p:sldIdLst>
  <p:sldSz cx="12198350" cy="6858000"/>
  <p:notesSz cx="6858000" cy="9144000"/>
  <p:custDataLst>
    <p:tags r:id="rId8"/>
  </p:custDataLst>
  <p:defaultTextStyle>
    <a:defPPr>
      <a:defRPr lang="pl-PL"/>
    </a:defPPr>
    <a:lvl1pPr marL="0" algn="l" defTabSz="9146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326" algn="l" defTabSz="9146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651" algn="l" defTabSz="9146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977" algn="l" defTabSz="9146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9303" algn="l" defTabSz="9146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629" algn="l" defTabSz="9146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954" algn="l" defTabSz="9146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1280" algn="l" defTabSz="9146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8606" algn="l" defTabSz="9146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an Bartels" initials="CB" lastIdx="4" clrIdx="0">
    <p:extLst>
      <p:ext uri="{19B8F6BF-5375-455C-9EA6-DF929625EA0E}">
        <p15:presenceInfo xmlns:p15="http://schemas.microsoft.com/office/powerpoint/2012/main" userId="S::christian.bartels@evorait.com::c93385eb-8740-416d-a6cf-56aa463786f9" providerId="AD"/>
      </p:ext>
    </p:extLst>
  </p:cmAuthor>
  <p:cmAuthor id="2" name="Florian Ganz" initials="FG" lastIdx="2" clrIdx="1">
    <p:extLst>
      <p:ext uri="{19B8F6BF-5375-455C-9EA6-DF929625EA0E}">
        <p15:presenceInfo xmlns:p15="http://schemas.microsoft.com/office/powerpoint/2012/main" userId="S::florian.ganz@evorait.com::434ea14d-8cd6-435f-889b-acd3a60bc3e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2F0"/>
    <a:srgbClr val="225999"/>
    <a:srgbClr val="404040"/>
    <a:srgbClr val="FFFFFF"/>
    <a:srgbClr val="A0A0A0"/>
    <a:srgbClr val="093969"/>
    <a:srgbClr val="DF3215"/>
    <a:srgbClr val="F6A800"/>
    <a:srgbClr val="F2F2F2"/>
    <a:srgbClr val="0C38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912" autoAdjust="0"/>
    <p:restoredTop sz="96150"/>
  </p:normalViewPr>
  <p:slideViewPr>
    <p:cSldViewPr snapToGrid="0">
      <p:cViewPr varScale="1">
        <p:scale>
          <a:sx n="130" d="100"/>
          <a:sy n="130" d="100"/>
        </p:scale>
        <p:origin x="96" y="223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9FE8F9-150D-4233-AB51-802F95CD53D4}" type="datetimeFigureOut">
              <a:rPr lang="en-US" smtClean="0"/>
              <a:t>4/1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05F648-245D-4274-80FB-59E29359718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0428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1065A-B219-4BF3-B913-AFE92A6D614B}" type="datetimeFigureOut">
              <a:rPr lang="pl-PL" smtClean="0"/>
              <a:t>17.04.2024</a:t>
            </a:fld>
            <a:endParaRPr lang="pl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D064C3-3BEE-4876-A7B4-6B23069B1D4B}" type="slidenum">
              <a:rPr lang="pl-PL" smtClean="0"/>
              <a:t>‹Nº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81601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Source Sans Pro"/>
                <a:ea typeface="Source Sans Pro"/>
              </a:rPr>
              <a:t>Evora IT Solutions</a:t>
            </a:r>
            <a:endParaRPr lang="de-DE">
              <a:solidFill>
                <a:schemeClr val="bg1"/>
              </a:solidFill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D064C3-3BEE-4876-A7B4-6B23069B1D4B}" type="slidenum">
              <a:rPr lang="pl-PL" smtClean="0"/>
              <a:t>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07729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St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4">
            <a:extLst>
              <a:ext uri="{FF2B5EF4-FFF2-40B4-BE49-F238E27FC236}">
                <a16:creationId xmlns:a16="http://schemas.microsoft.com/office/drawing/2014/main" id="{8F9E4520-471E-B54F-B34F-05D5AF3FD1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6800" cy="6885985"/>
          </a:xfrm>
          <a:prstGeom prst="rect">
            <a:avLst/>
          </a:prstGeom>
        </p:spPr>
      </p:pic>
      <p:pic>
        <p:nvPicPr>
          <p:cNvPr id="7" name="Grafik 5">
            <a:extLst>
              <a:ext uri="{FF2B5EF4-FFF2-40B4-BE49-F238E27FC236}">
                <a16:creationId xmlns:a16="http://schemas.microsoft.com/office/drawing/2014/main" id="{1476D9C8-2709-474B-9D99-D8B60C5898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3116" y="476250"/>
            <a:ext cx="2514600" cy="8396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73D7808-890A-D34A-A1DD-5426EE85670F}"/>
              </a:ext>
            </a:extLst>
          </p:cNvPr>
          <p:cNvSpPr txBox="1"/>
          <p:nvPr userDrawn="1"/>
        </p:nvSpPr>
        <p:spPr>
          <a:xfrm>
            <a:off x="7200" y="6490800"/>
            <a:ext cx="12198349" cy="292422"/>
          </a:xfrm>
          <a:prstGeom prst="rect">
            <a:avLst/>
          </a:prstGeom>
          <a:noFill/>
        </p:spPr>
        <p:txBody>
          <a:bodyPr wrap="square" lIns="121954" tIns="60977" rIns="121954" bIns="60977" rtlCol="0">
            <a:spAutoFit/>
          </a:bodyPr>
          <a:lstStyle/>
          <a:p>
            <a:pPr marL="0" marR="0" indent="0" algn="ctr" defTabSz="9146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0" dirty="0">
                <a:solidFill>
                  <a:schemeClr val="accent5"/>
                </a:solidFill>
                <a:latin typeface="Source Sans Pro"/>
                <a:ea typeface="ＭＳ Ｐゴシック" charset="-128"/>
                <a:cs typeface="Source Sans Pro"/>
              </a:rPr>
              <a:t>- Copyright Evora IT Solutions | 2023 -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1D127AF-7108-FD42-8B03-DFD682F2B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400" y="2743200"/>
            <a:ext cx="10521950" cy="687820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  <a:endParaRPr lang="en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CD413A-D211-6A4E-A62B-E2832D5C12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2400" y="3434400"/>
            <a:ext cx="10495603" cy="4616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en-GB" dirty="0" err="1"/>
              <a:t>Subheadlin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AC72C89-1983-154C-8444-DABF3856AD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784" y="6026323"/>
            <a:ext cx="5239391" cy="351668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chemeClr val="accent5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en-GB" dirty="0"/>
              <a:t>Name, Date</a:t>
            </a:r>
          </a:p>
        </p:txBody>
      </p:sp>
    </p:spTree>
    <p:extLst>
      <p:ext uri="{BB962C8B-B14F-4D97-AF65-F5344CB8AC3E}">
        <p14:creationId xmlns:p14="http://schemas.microsoft.com/office/powerpoint/2010/main" val="59926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Divider 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>
            <a:extLst>
              <a:ext uri="{FF2B5EF4-FFF2-40B4-BE49-F238E27FC236}">
                <a16:creationId xmlns:a16="http://schemas.microsoft.com/office/drawing/2014/main" id="{F8B4D802-E12B-6E42-BA03-FD2B3A67CF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98346" cy="688200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E0855FF-E2E3-CA46-BE24-AE01F38F6ADB}"/>
              </a:ext>
            </a:extLst>
          </p:cNvPr>
          <p:cNvSpPr txBox="1"/>
          <p:nvPr userDrawn="1"/>
        </p:nvSpPr>
        <p:spPr>
          <a:xfrm>
            <a:off x="7200" y="6490800"/>
            <a:ext cx="12198349" cy="360000"/>
          </a:xfrm>
          <a:prstGeom prst="rect">
            <a:avLst/>
          </a:prstGeom>
          <a:noFill/>
        </p:spPr>
        <p:txBody>
          <a:bodyPr wrap="square" lIns="121954" tIns="60977" rIns="121954" bIns="60977" rtlCol="0">
            <a:spAutoFit/>
          </a:bodyPr>
          <a:lstStyle/>
          <a:p>
            <a:pPr marL="0" marR="0" indent="0" algn="ctr" defTabSz="9146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0" dirty="0">
                <a:solidFill>
                  <a:srgbClr val="A0A0A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- Copyright Evora IT Solutions | </a:t>
            </a:r>
            <a:fld id="{85038FC3-CBE0-8D42-9C63-B4A36A8F944C}" type="datetimeyyyy">
              <a:rPr lang="de-DE" sz="1100" b="0" smtClean="0">
                <a:solidFill>
                  <a:srgbClr val="A0A0A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2024</a:t>
            </a:fld>
            <a:r>
              <a:rPr lang="de-DE" sz="1100" b="0" dirty="0">
                <a:solidFill>
                  <a:srgbClr val="A0A0A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 -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1B8DBA0-6D86-7C4C-8BE3-48F11F3D4B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33799"/>
          <a:stretch/>
        </p:blipFill>
        <p:spPr>
          <a:xfrm>
            <a:off x="408364" y="6554417"/>
            <a:ext cx="716400" cy="158356"/>
          </a:xfrm>
          <a:prstGeom prst="rect">
            <a:avLst/>
          </a:prstGeom>
          <a:noFill/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A080983C-8863-CD4D-A2DA-7C6611093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18173" y="2741180"/>
            <a:ext cx="8858598" cy="687820"/>
          </a:xfrm>
        </p:spPr>
        <p:txBody>
          <a:bodyPr/>
          <a:lstStyle>
            <a:lvl1pPr>
              <a:defRPr lang="en-GB" sz="5000" b="1" kern="1200" smtClean="0">
                <a:solidFill>
                  <a:srgbClr val="225999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</a:lstStyle>
          <a:p>
            <a:r>
              <a:rPr lang="en-GB"/>
              <a:t>Title or Headline</a:t>
            </a:r>
            <a:endParaRPr lang="en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6F18F0-552B-BC44-B789-418718DBF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18173" y="3446162"/>
            <a:ext cx="8850579" cy="4616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 lang="en-GB" sz="28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</a:lstStyle>
          <a:p>
            <a:pPr lvl="0"/>
            <a:r>
              <a:rPr lang="en-GB" dirty="0" err="1"/>
              <a:t>Sub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5582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466374-AF4E-464F-B9C7-B054BCCA4E26}"/>
              </a:ext>
            </a:extLst>
          </p:cNvPr>
          <p:cNvSpPr/>
          <p:nvPr userDrawn="1"/>
        </p:nvSpPr>
        <p:spPr>
          <a:xfrm>
            <a:off x="0" y="1297559"/>
            <a:ext cx="12198350" cy="4068026"/>
          </a:xfrm>
          <a:prstGeom prst="rect">
            <a:avLst/>
          </a:prstGeom>
          <a:solidFill>
            <a:srgbClr val="F2F2F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262870" y="1677600"/>
            <a:ext cx="7447325" cy="4704150"/>
          </a:xfrm>
          <a:prstGeom prst="rect">
            <a:avLst/>
          </a:prstGeom>
          <a:solidFill>
            <a:schemeClr val="bg1"/>
          </a:solidFill>
        </p:spPr>
        <p:txBody>
          <a:bodyPr lIns="144000" tIns="36000" rIns="144000" bIns="144000">
            <a:normAutofit/>
          </a:bodyPr>
          <a:lstStyle>
            <a:lvl1pPr marL="457326" indent="-457326" algn="l" defTabSz="914651" rtl="0" eaLnBrk="1" latinLnBrk="0" hangingPunct="1">
              <a:lnSpc>
                <a:spcPct val="180000"/>
              </a:lnSpc>
              <a:buClr>
                <a:schemeClr val="accent3"/>
              </a:buClr>
              <a:buSzPct val="150000"/>
              <a:buFont typeface="+mj-lt"/>
              <a:buAutoNum type="arabicPlain"/>
              <a:defRPr lang="en-US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>
              <a:defRPr lang="en-US" sz="2000" kern="1200" dirty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2pPr>
          </a:lstStyle>
          <a:p>
            <a:pPr lvl="0"/>
            <a:r>
              <a:rPr lang="en-US" dirty="0"/>
              <a:t>Topic 1</a:t>
            </a:r>
          </a:p>
          <a:p>
            <a:pPr lvl="1"/>
            <a:r>
              <a:rPr lang="en-US" dirty="0"/>
              <a:t>Subtopics</a:t>
            </a:r>
          </a:p>
          <a:p>
            <a:pPr lvl="0"/>
            <a:r>
              <a:rPr lang="en-US" dirty="0"/>
              <a:t>Topic 2</a:t>
            </a:r>
          </a:p>
          <a:p>
            <a:pPr lvl="0"/>
            <a:r>
              <a:rPr lang="en-US" dirty="0"/>
              <a:t>Topic 3</a:t>
            </a:r>
          </a:p>
          <a:p>
            <a:pPr lvl="0"/>
            <a:r>
              <a:rPr lang="en-US" dirty="0"/>
              <a:t>Topic 4</a:t>
            </a:r>
          </a:p>
          <a:p>
            <a:pPr lvl="0"/>
            <a:r>
              <a:rPr lang="en-US" dirty="0"/>
              <a:t>Topic 5</a:t>
            </a:r>
          </a:p>
          <a:p>
            <a:pPr lvl="0"/>
            <a:r>
              <a:rPr lang="en-US" dirty="0"/>
              <a:t>Topic 6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710195" y="1677600"/>
            <a:ext cx="2225285" cy="4704150"/>
          </a:xfrm>
          <a:prstGeom prst="rect">
            <a:avLst/>
          </a:prstGeom>
          <a:solidFill>
            <a:schemeClr val="bg1"/>
          </a:solidFill>
        </p:spPr>
        <p:txBody>
          <a:bodyPr lIns="144000" tIns="36000" rIns="144000" bIns="36000">
            <a:normAutofit/>
          </a:bodyPr>
          <a:lstStyle>
            <a:lvl1pPr marL="0" indent="0" algn="l" defTabSz="914651" rtl="0" eaLnBrk="1" latinLnBrk="0" hangingPunct="1">
              <a:lnSpc>
                <a:spcPct val="180000"/>
              </a:lnSpc>
              <a:buClr>
                <a:srgbClr val="F08821"/>
              </a:buClr>
              <a:buSzPct val="180000"/>
              <a:buFont typeface="+mj-lt"/>
              <a:buNone/>
              <a:defRPr lang="en-US" sz="2000" kern="1200" dirty="0" smtClean="0">
                <a:solidFill>
                  <a:schemeClr val="accent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</a:lstStyle>
          <a:p>
            <a:pPr lvl="0"/>
            <a:r>
              <a:rPr lang="en-US" dirty="0"/>
              <a:t>09:00 – 09:15</a:t>
            </a:r>
          </a:p>
          <a:p>
            <a:pPr lvl="0"/>
            <a:r>
              <a:rPr lang="en-US" dirty="0"/>
              <a:t>09:15 – 12:15</a:t>
            </a:r>
          </a:p>
          <a:p>
            <a:pPr lvl="0"/>
            <a:r>
              <a:rPr lang="en-US" dirty="0"/>
              <a:t>12:15 – 13:15</a:t>
            </a:r>
          </a:p>
          <a:p>
            <a:pPr lvl="0"/>
            <a:r>
              <a:rPr lang="en-US" dirty="0"/>
              <a:t>13:15 – 13:45</a:t>
            </a:r>
          </a:p>
          <a:p>
            <a:pPr lvl="0"/>
            <a:r>
              <a:rPr lang="en-US" dirty="0"/>
              <a:t>13:45 – 15:15</a:t>
            </a:r>
          </a:p>
          <a:p>
            <a:pPr lvl="0"/>
            <a:r>
              <a:rPr lang="en-US" dirty="0"/>
              <a:t>15:15 – 15:45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7129A89-531F-E540-A50D-F06002A2EE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963" y="476250"/>
            <a:ext cx="10521950" cy="6878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GB" dirty="0"/>
              <a:t>Click to edit Agenda titl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74596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Simple Slide Headlin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15E70-B38D-CF43-9A8D-7F83C0305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DE904CA-4299-B94A-B9D2-7F44BAB0AA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9175" y="1123200"/>
            <a:ext cx="5256212" cy="5258550"/>
          </a:xfrm>
          <a:prstGeom prst="rect">
            <a:avLst/>
          </a:prstGeom>
        </p:spPr>
        <p:txBody>
          <a:bodyPr lIns="144000" tIns="144000" rIns="144000" bIns="36000">
            <a:norm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200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 sz="200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4CE9AC-6EA5-2D4E-9056-72C7F11391A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42963" y="1123200"/>
            <a:ext cx="5156393" cy="5258550"/>
          </a:xfrm>
          <a:prstGeom prst="rect">
            <a:avLst/>
          </a:prstGeom>
        </p:spPr>
        <p:txBody>
          <a:bodyPr lIns="144000" tIns="144000" rIns="144000" bIns="36000">
            <a:norm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 lang="en-DE" sz="2000" kern="1200" dirty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64863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Layout Headline, Sublin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15E70-B38D-CF43-9A8D-7F83C0305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AECD99-25B6-F440-8631-95AA997F9E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963" y="1123200"/>
            <a:ext cx="10521950" cy="52661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DE904CA-4299-B94A-B9D2-7F44BAB0AA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2963" y="1677600"/>
            <a:ext cx="5167544" cy="4704150"/>
          </a:xfrm>
          <a:prstGeom prst="rect">
            <a:avLst/>
          </a:prstGeom>
        </p:spPr>
        <p:txBody>
          <a:bodyPr lIns="144000" tIns="144000" rIns="144000" bIns="36000">
            <a:norm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200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 sz="200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DE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601A88-0662-DB45-9369-6787AD34813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9175" y="1677600"/>
            <a:ext cx="5265738" cy="4704150"/>
          </a:xfrm>
          <a:prstGeom prst="rect">
            <a:avLst/>
          </a:prstGeom>
        </p:spPr>
        <p:txBody>
          <a:bodyPr lIns="144000" tIns="144000" rIns="144000">
            <a:norm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 lang="en-DE" sz="2000" kern="1200" dirty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646836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 Right with Headline, Sublin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935B5E8-A1AA-CF4A-9EB3-62EAC7E7851B}"/>
              </a:ext>
            </a:extLst>
          </p:cNvPr>
          <p:cNvSpPr/>
          <p:nvPr userDrawn="1"/>
        </p:nvSpPr>
        <p:spPr>
          <a:xfrm>
            <a:off x="9344402" y="0"/>
            <a:ext cx="285394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115E70-B38D-CF43-9A8D-7F83C0305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AECD99-25B6-F440-8631-95AA997F9E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963" y="1123200"/>
            <a:ext cx="10521950" cy="52661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DE904CA-4299-B94A-B9D2-7F44BAB0AA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2963" y="1677600"/>
            <a:ext cx="5256212" cy="4704150"/>
          </a:xfrm>
          <a:prstGeom prst="rect">
            <a:avLst/>
          </a:prstGeom>
        </p:spPr>
        <p:txBody>
          <a:bodyPr lIns="144000" tIns="144000" rIns="144000" bIns="36000">
            <a:norm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200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 sz="200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DE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601A88-0662-DB45-9369-6787AD34813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815470" y="2190307"/>
            <a:ext cx="4549443" cy="354449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lnSpc>
                <a:spcPct val="100000"/>
              </a:lnSpc>
              <a:buClr>
                <a:schemeClr val="accent1"/>
              </a:buClr>
              <a:buNone/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>
              <a:buClr>
                <a:schemeClr val="accent1"/>
              </a:buClr>
              <a:defRPr lang="en-GB" sz="2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>
              <a:buClr>
                <a:schemeClr val="accent1"/>
              </a:buClr>
              <a:defRPr lang="en-GB" sz="2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>
              <a:buClr>
                <a:schemeClr val="accent1"/>
              </a:buClr>
              <a:defRPr lang="en-GB" sz="2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>
              <a:buClr>
                <a:schemeClr val="accent1"/>
              </a:buClr>
              <a:defRPr lang="en-DE" sz="2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</a:lstStyle>
          <a:p>
            <a:pPr lvl="0"/>
            <a:r>
              <a:rPr lang="en-GB"/>
              <a:t>Upload a photo or place screenshot her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0647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CB1E2C-55E4-DA43-BE0F-8F36869F593B}"/>
              </a:ext>
            </a:extLst>
          </p:cNvPr>
          <p:cNvSpPr/>
          <p:nvPr userDrawn="1"/>
        </p:nvSpPr>
        <p:spPr>
          <a:xfrm>
            <a:off x="0" y="1003807"/>
            <a:ext cx="12198350" cy="485038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4" name="Grafik 9">
            <a:extLst>
              <a:ext uri="{FF2B5EF4-FFF2-40B4-BE49-F238E27FC236}">
                <a16:creationId xmlns:a16="http://schemas.microsoft.com/office/drawing/2014/main" id="{48CFAB72-4F3E-9D41-80DA-FF4FBA921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833906" y="1341149"/>
            <a:ext cx="530538" cy="454747"/>
          </a:xfrm>
          <a:prstGeom prst="rect">
            <a:avLst/>
          </a:prstGeom>
          <a:noFill/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EB8652-4BB4-2143-AB4E-1EC15B6539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2964" y="2041941"/>
            <a:ext cx="10512424" cy="310951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buNone/>
              <a:defRPr sz="3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en-GB" dirty="0"/>
              <a:t>Enter your Quot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B9D090-3EF7-574E-8FB0-18F135FBE4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2963" y="5397500"/>
            <a:ext cx="10512425" cy="300038"/>
          </a:xfrm>
          <a:prstGeom prst="rect">
            <a:avLst/>
          </a:prstGeom>
        </p:spPr>
        <p:txBody>
          <a:bodyPr/>
          <a:lstStyle>
            <a:lvl1pPr algn="ctr">
              <a:buNone/>
              <a:defRPr sz="2400">
                <a:solidFill>
                  <a:schemeClr val="accent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en-GB"/>
              <a:t>Who gave the Quote?</a:t>
            </a:r>
          </a:p>
        </p:txBody>
      </p:sp>
    </p:spTree>
    <p:extLst>
      <p:ext uri="{BB962C8B-B14F-4D97-AF65-F5344CB8AC3E}">
        <p14:creationId xmlns:p14="http://schemas.microsoft.com/office/powerpoint/2010/main" val="185577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Box Right with Headline, Sublin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935B5E8-A1AA-CF4A-9EB3-62EAC7E7851B}"/>
              </a:ext>
            </a:extLst>
          </p:cNvPr>
          <p:cNvSpPr/>
          <p:nvPr userDrawn="1"/>
        </p:nvSpPr>
        <p:spPr>
          <a:xfrm>
            <a:off x="9344402" y="0"/>
            <a:ext cx="285394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115E70-B38D-CF43-9A8D-7F83C0305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AECD99-25B6-F440-8631-95AA997F9E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963" y="1123200"/>
            <a:ext cx="10521950" cy="52661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601A88-0662-DB45-9369-6787AD34813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56687" y="1677600"/>
            <a:ext cx="7175319" cy="4704150"/>
          </a:xfrm>
          <a:prstGeom prst="rect">
            <a:avLst/>
          </a:prstGeom>
        </p:spPr>
        <p:txBody>
          <a:bodyPr lIns="144000" tIns="144000" rIns="144000" bIns="36000">
            <a:norm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 lang="en-DE" sz="2000" kern="1200" dirty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DE" dirty="0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F1DC3910-067F-BA4A-852C-1244B9B3F991}"/>
              </a:ext>
            </a:extLst>
          </p:cNvPr>
          <p:cNvSpPr>
            <a:spLocks/>
          </p:cNvSpPr>
          <p:nvPr userDrawn="1"/>
        </p:nvSpPr>
        <p:spPr>
          <a:xfrm>
            <a:off x="8289176" y="2109661"/>
            <a:ext cx="3078000" cy="3078000"/>
          </a:xfrm>
          <a:prstGeom prst="rect">
            <a:avLst/>
          </a:prstGeom>
          <a:solidFill>
            <a:srgbClr val="0C38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8748ABB-97E0-2644-BAD1-C11EED009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3028" y="2341305"/>
            <a:ext cx="294454" cy="25238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DF3FD3-A17B-094B-9935-E4A84262FD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89175" y="2790701"/>
            <a:ext cx="3075737" cy="2396960"/>
          </a:xfrm>
          <a:prstGeom prst="rect">
            <a:avLst/>
          </a:prstGeom>
        </p:spPr>
        <p:txBody>
          <a:bodyPr lIns="180000" tIns="180000" rIns="180000" bIns="180000">
            <a:normAutofit/>
          </a:bodyPr>
          <a:lstStyle>
            <a:lvl1pPr marL="9525" indent="-9525">
              <a:buNone/>
              <a:tabLst/>
              <a:defRPr sz="20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en-GB" dirty="0"/>
              <a:t>Enter Quote on the blue box</a:t>
            </a:r>
          </a:p>
        </p:txBody>
      </p:sp>
    </p:spTree>
    <p:extLst>
      <p:ext uri="{BB962C8B-B14F-4D97-AF65-F5344CB8AC3E}">
        <p14:creationId xmlns:p14="http://schemas.microsoft.com/office/powerpoint/2010/main" val="2892905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 Right with Headline, Sublin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935B5E8-A1AA-CF4A-9EB3-62EAC7E7851B}"/>
              </a:ext>
            </a:extLst>
          </p:cNvPr>
          <p:cNvSpPr/>
          <p:nvPr userDrawn="1"/>
        </p:nvSpPr>
        <p:spPr>
          <a:xfrm>
            <a:off x="9344402" y="0"/>
            <a:ext cx="285394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115E70-B38D-CF43-9A8D-7F83C0305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AECD99-25B6-F440-8631-95AA997F9E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963" y="1123200"/>
            <a:ext cx="10521950" cy="52661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601A88-0662-DB45-9369-6787AD34813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56687" y="1677600"/>
            <a:ext cx="7175319" cy="4704150"/>
          </a:xfrm>
          <a:prstGeom prst="rect">
            <a:avLst/>
          </a:prstGeom>
        </p:spPr>
        <p:txBody>
          <a:bodyPr lIns="144000" tIns="144000" rIns="144000" bIns="36000">
            <a:norm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 lang="en-GB" sz="20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 lang="en-DE" sz="2000" kern="1200" dirty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DE" dirty="0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F1DC3910-067F-BA4A-852C-1244B9B3F991}"/>
              </a:ext>
            </a:extLst>
          </p:cNvPr>
          <p:cNvSpPr>
            <a:spLocks noChangeAspect="1"/>
          </p:cNvSpPr>
          <p:nvPr userDrawn="1"/>
        </p:nvSpPr>
        <p:spPr>
          <a:xfrm>
            <a:off x="8289176" y="2109662"/>
            <a:ext cx="3077800" cy="2983465"/>
          </a:xfrm>
          <a:prstGeom prst="rect">
            <a:avLst/>
          </a:prstGeom>
          <a:solidFill>
            <a:srgbClr val="0C38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DF3FD3-A17B-094B-9935-E4A84262FD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89176" y="2109663"/>
            <a:ext cx="3052487" cy="2983464"/>
          </a:xfrm>
          <a:prstGeom prst="rect">
            <a:avLst/>
          </a:prstGeom>
        </p:spPr>
        <p:txBody>
          <a:bodyPr lIns="180000" tIns="180000" rIns="180000" bIns="180000">
            <a:normAutofit/>
          </a:bodyPr>
          <a:lstStyle>
            <a:lvl1pPr marL="9525" indent="-9525">
              <a:buNone/>
              <a:tabLst/>
              <a:defRPr sz="20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en-GB" dirty="0"/>
              <a:t>Enter Comment on the blue box</a:t>
            </a:r>
          </a:p>
        </p:txBody>
      </p:sp>
    </p:spTree>
    <p:extLst>
      <p:ext uri="{BB962C8B-B14F-4D97-AF65-F5344CB8AC3E}">
        <p14:creationId xmlns:p14="http://schemas.microsoft.com/office/powerpoint/2010/main" val="79528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Headlin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15E70-B38D-CF43-9A8D-7F83C0305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DE904CA-4299-B94A-B9D2-7F44BAB0AA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2963" y="1123200"/>
            <a:ext cx="10512424" cy="5258550"/>
          </a:xfrm>
          <a:prstGeom prst="rect">
            <a:avLst/>
          </a:prstGeom>
        </p:spPr>
        <p:txBody>
          <a:bodyPr lIns="144000" tIns="144000" rIns="144000" bIns="36000">
            <a:norm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200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 sz="200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31627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ncy Layout Headline, Sublin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15E70-B38D-CF43-9A8D-7F83C0305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AECD99-25B6-F440-8631-95AA997F9E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963" y="1123200"/>
            <a:ext cx="10521950" cy="52661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DE904CA-4299-B94A-B9D2-7F44BAB0AA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2963" y="1677600"/>
            <a:ext cx="10512424" cy="4704150"/>
          </a:xfrm>
          <a:prstGeom prst="rect">
            <a:avLst/>
          </a:prstGeom>
        </p:spPr>
        <p:txBody>
          <a:bodyPr lIns="144000" tIns="144000" rIns="144000" bIns="36000">
            <a:norm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200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 sz="200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18675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900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&amp; Sub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15E70-B38D-CF43-9A8D-7F83C0305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AECD99-25B6-F440-8631-95AA997F9E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963" y="1123200"/>
            <a:ext cx="10521950" cy="52661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2785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1501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Divider 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D649D414-4977-D24E-8E37-4722D30E5D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8350" cy="688200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E0855FF-E2E3-CA46-BE24-AE01F38F6ADB}"/>
              </a:ext>
            </a:extLst>
          </p:cNvPr>
          <p:cNvSpPr txBox="1"/>
          <p:nvPr userDrawn="1"/>
        </p:nvSpPr>
        <p:spPr>
          <a:xfrm>
            <a:off x="7200" y="6490800"/>
            <a:ext cx="12198349" cy="360000"/>
          </a:xfrm>
          <a:prstGeom prst="rect">
            <a:avLst/>
          </a:prstGeom>
          <a:noFill/>
        </p:spPr>
        <p:txBody>
          <a:bodyPr wrap="square" lIns="121954" tIns="60977" rIns="121954" bIns="60977" rtlCol="0">
            <a:spAutoFit/>
          </a:bodyPr>
          <a:lstStyle/>
          <a:p>
            <a:pPr marL="0" marR="0" indent="0" algn="ctr" defTabSz="9146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0" dirty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- Copyright Evora IT Solutions | </a:t>
            </a:r>
            <a:fld id="{EE4CA143-A25C-7A49-B9FF-259E5D7B2ABF}" type="datetimeyyyy">
              <a:rPr lang="de-DE" sz="1100" b="0" smtClean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2024</a:t>
            </a:fld>
            <a:r>
              <a:rPr lang="de-DE" sz="1100" b="0" dirty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 -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1B8DBA0-6D86-7C4C-8BE3-48F11F3D4B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33799"/>
          <a:stretch/>
        </p:blipFill>
        <p:spPr>
          <a:xfrm>
            <a:off x="408364" y="6554417"/>
            <a:ext cx="716400" cy="158356"/>
          </a:xfrm>
          <a:prstGeom prst="rect">
            <a:avLst/>
          </a:prstGeom>
          <a:noFill/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A080983C-8863-CD4D-A2DA-7C6611093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963" y="2262319"/>
            <a:ext cx="10521950" cy="687820"/>
          </a:xfrm>
        </p:spPr>
        <p:txBody>
          <a:bodyPr/>
          <a:lstStyle>
            <a:lvl1pPr>
              <a:defRPr lang="en-GB" sz="5000" b="1" kern="1200" smtClean="0">
                <a:solidFill>
                  <a:srgbClr val="225999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</a:lstStyle>
          <a:p>
            <a:r>
              <a:rPr lang="en-GB" dirty="0"/>
              <a:t>Title or Headline</a:t>
            </a:r>
            <a:endParaRPr lang="en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6F18F0-552B-BC44-B789-418718DBF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2963" y="2967301"/>
            <a:ext cx="10512425" cy="4616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 lang="en-GB" sz="28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</a:lstStyle>
          <a:p>
            <a:pPr lvl="0"/>
            <a:r>
              <a:rPr lang="en-GB" dirty="0" err="1"/>
              <a:t>Sub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9316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Divider 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4">
            <a:extLst>
              <a:ext uri="{FF2B5EF4-FFF2-40B4-BE49-F238E27FC236}">
                <a16:creationId xmlns:a16="http://schemas.microsoft.com/office/drawing/2014/main" id="{443617F9-06D2-5240-8E73-CB822B9518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8348" cy="688200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E0855FF-E2E3-CA46-BE24-AE01F38F6ADB}"/>
              </a:ext>
            </a:extLst>
          </p:cNvPr>
          <p:cNvSpPr txBox="1"/>
          <p:nvPr userDrawn="1"/>
        </p:nvSpPr>
        <p:spPr>
          <a:xfrm>
            <a:off x="7200" y="6490800"/>
            <a:ext cx="12198349" cy="360000"/>
          </a:xfrm>
          <a:prstGeom prst="rect">
            <a:avLst/>
          </a:prstGeom>
          <a:noFill/>
        </p:spPr>
        <p:txBody>
          <a:bodyPr wrap="square" lIns="121954" tIns="60977" rIns="121954" bIns="60977" rtlCol="0">
            <a:spAutoFit/>
          </a:bodyPr>
          <a:lstStyle/>
          <a:p>
            <a:pPr marL="0" marR="0" indent="0" algn="ctr" defTabSz="9146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0" dirty="0">
                <a:solidFill>
                  <a:srgbClr val="A0A0A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- Copyright Evora IT Solutions | </a:t>
            </a:r>
            <a:fld id="{C0EB8734-FC06-9048-ACB9-ECFEC4094FD4}" type="datetimeyyyy">
              <a:rPr lang="de-DE" sz="1100" b="0" smtClean="0">
                <a:solidFill>
                  <a:srgbClr val="A0A0A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2024</a:t>
            </a:fld>
            <a:r>
              <a:rPr lang="de-DE" sz="1100" b="0" dirty="0">
                <a:solidFill>
                  <a:srgbClr val="A0A0A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 -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1B8DBA0-6D86-7C4C-8BE3-48F11F3D4B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33799"/>
          <a:stretch/>
        </p:blipFill>
        <p:spPr>
          <a:xfrm>
            <a:off x="408364" y="6554417"/>
            <a:ext cx="716400" cy="158356"/>
          </a:xfrm>
          <a:prstGeom prst="rect">
            <a:avLst/>
          </a:prstGeom>
          <a:noFill/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A080983C-8863-CD4D-A2DA-7C6611093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1675" y="2741180"/>
            <a:ext cx="10521950" cy="687820"/>
          </a:xfrm>
        </p:spPr>
        <p:txBody>
          <a:bodyPr/>
          <a:lstStyle>
            <a:lvl1pPr>
              <a:defRPr lang="en-GB" sz="5000" b="1" kern="1200" smtClean="0">
                <a:solidFill>
                  <a:srgbClr val="225999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</a:lstStyle>
          <a:p>
            <a:r>
              <a:rPr lang="en-GB"/>
              <a:t>Title or Headline</a:t>
            </a:r>
            <a:endParaRPr lang="en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6F18F0-552B-BC44-B789-418718DBF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11675" y="3446162"/>
            <a:ext cx="10512425" cy="4616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 lang="en-GB" sz="28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</a:lstStyle>
          <a:p>
            <a:pPr lvl="0"/>
            <a:r>
              <a:rPr lang="en-GB" dirty="0" err="1"/>
              <a:t>Sub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615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Divider 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4">
            <a:extLst>
              <a:ext uri="{FF2B5EF4-FFF2-40B4-BE49-F238E27FC236}">
                <a16:creationId xmlns:a16="http://schemas.microsoft.com/office/drawing/2014/main" id="{1918A37E-50E8-884B-AA55-544E44A649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98348" cy="688200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E0855FF-E2E3-CA46-BE24-AE01F38F6ADB}"/>
              </a:ext>
            </a:extLst>
          </p:cNvPr>
          <p:cNvSpPr txBox="1"/>
          <p:nvPr userDrawn="1"/>
        </p:nvSpPr>
        <p:spPr>
          <a:xfrm>
            <a:off x="7200" y="6490800"/>
            <a:ext cx="12198349" cy="360000"/>
          </a:xfrm>
          <a:prstGeom prst="rect">
            <a:avLst/>
          </a:prstGeom>
          <a:noFill/>
        </p:spPr>
        <p:txBody>
          <a:bodyPr wrap="square" lIns="121954" tIns="60977" rIns="121954" bIns="60977" rtlCol="0">
            <a:spAutoFit/>
          </a:bodyPr>
          <a:lstStyle/>
          <a:p>
            <a:pPr marL="0" marR="0" indent="0" algn="ctr" defTabSz="9146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0" dirty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- Copyright Evora IT Solutions | </a:t>
            </a:r>
            <a:fld id="{C718D43B-46EC-F949-826E-775AB164DEB9}" type="datetimeyyyy">
              <a:rPr lang="de-DE" sz="1100" b="0" smtClean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2024</a:t>
            </a:fld>
            <a:r>
              <a:rPr lang="de-DE" sz="1100" b="0" dirty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/>
              </a:rPr>
              <a:t> -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1B8DBA0-6D86-7C4C-8BE3-48F11F3D4B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33799"/>
          <a:stretch/>
        </p:blipFill>
        <p:spPr>
          <a:xfrm>
            <a:off x="408364" y="6554417"/>
            <a:ext cx="716400" cy="158356"/>
          </a:xfrm>
          <a:prstGeom prst="rect">
            <a:avLst/>
          </a:prstGeom>
          <a:noFill/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A080983C-8863-CD4D-A2DA-7C66110930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963" y="2262319"/>
            <a:ext cx="10521950" cy="687820"/>
          </a:xfrm>
        </p:spPr>
        <p:txBody>
          <a:bodyPr/>
          <a:lstStyle>
            <a:lvl1pPr>
              <a:defRPr lang="en-GB" sz="5000" b="1" kern="1200" smtClean="0">
                <a:solidFill>
                  <a:srgbClr val="225999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</a:lstStyle>
          <a:p>
            <a:r>
              <a:rPr lang="en-GB"/>
              <a:t>Title or Headline</a:t>
            </a:r>
            <a:endParaRPr lang="en-D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6F18F0-552B-BC44-B789-418718DBFC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2963" y="2967301"/>
            <a:ext cx="10512425" cy="4616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 lang="en-GB" sz="2800" kern="1200" dirty="0" smtClean="0">
                <a:solidFill>
                  <a:schemeClr val="accent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</a:lstStyle>
          <a:p>
            <a:pPr lvl="0"/>
            <a:r>
              <a:rPr lang="en-GB" dirty="0" err="1"/>
              <a:t>Sub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265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ED8A596-41B7-DE4D-8E21-2621381859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881868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21" imgW="7772400" imgH="10058400" progId="TCLayout.ActiveDocument.1">
                  <p:embed/>
                </p:oleObj>
              </mc:Choice>
              <mc:Fallback>
                <p:oleObj name="think-cell Folie" r:id="rId21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ED8A596-41B7-DE4D-8E21-2621381859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639" y="6491453"/>
            <a:ext cx="12198349" cy="292422"/>
          </a:xfrm>
          <a:prstGeom prst="rect">
            <a:avLst/>
          </a:prstGeom>
          <a:noFill/>
        </p:spPr>
        <p:txBody>
          <a:bodyPr wrap="square" lIns="121954" tIns="60977" rIns="121954" bIns="60977" rtlCol="0">
            <a:spAutoFit/>
          </a:bodyPr>
          <a:lstStyle/>
          <a:p>
            <a:pPr marL="0" marR="0" indent="0" algn="ctr" defTabSz="9146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0" dirty="0">
                <a:solidFill>
                  <a:schemeClr val="accent5"/>
                </a:solidFill>
                <a:latin typeface="Source Sans Pro"/>
                <a:ea typeface="ＭＳ Ｐゴシック" charset="-128"/>
                <a:cs typeface="Source Sans Pro"/>
              </a:rPr>
              <a:t>- Copyright Evora IT Solutions | </a:t>
            </a:r>
            <a:fld id="{24430062-F2F5-AE48-A2CC-5857BF883AE0}" type="datetimeyyyy">
              <a:rPr lang="de-DE" sz="1100" b="0" smtClean="0">
                <a:solidFill>
                  <a:schemeClr val="accent5"/>
                </a:solidFill>
                <a:latin typeface="Source Sans Pro"/>
                <a:ea typeface="ＭＳ Ｐゴシック" charset="-128"/>
                <a:cs typeface="Source Sans Pro"/>
              </a:rPr>
              <a:t>2024</a:t>
            </a:fld>
            <a:r>
              <a:rPr lang="de-DE" sz="1100" b="0" dirty="0">
                <a:solidFill>
                  <a:schemeClr val="accent5"/>
                </a:solidFill>
                <a:latin typeface="Source Sans Pro"/>
                <a:ea typeface="ＭＳ Ｐゴシック" charset="-128"/>
                <a:cs typeface="Source Sans Pro"/>
              </a:rPr>
              <a:t> -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A5040E8-8BB8-4042-94E0-EAB63E7A4259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265" y="6556301"/>
            <a:ext cx="720000" cy="157841"/>
          </a:xfrm>
          <a:prstGeom prst="rect">
            <a:avLst/>
          </a:prstGeom>
        </p:spPr>
      </p:pic>
      <p:sp>
        <p:nvSpPr>
          <p:cNvPr id="8" name="Textfeld 11"/>
          <p:cNvSpPr txBox="1"/>
          <p:nvPr/>
        </p:nvSpPr>
        <p:spPr>
          <a:xfrm>
            <a:off x="10855081" y="6549268"/>
            <a:ext cx="1246458" cy="345016"/>
          </a:xfrm>
          <a:prstGeom prst="rect">
            <a:avLst/>
          </a:prstGeom>
          <a:noFill/>
        </p:spPr>
        <p:txBody>
          <a:bodyPr lIns="835430" tIns="0" rIns="0" bIns="153642"/>
          <a:lstStyle/>
          <a:p>
            <a:pPr>
              <a:lnSpc>
                <a:spcPct val="110000"/>
              </a:lnSpc>
              <a:spcBef>
                <a:spcPts val="0"/>
              </a:spcBef>
              <a:defRPr/>
            </a:pPr>
            <a:fld id="{C64E8687-1B81-40E5-8C6D-E5A5EBC48A1A}" type="slidenum">
              <a:rPr lang="de-DE" sz="1100" b="0" kern="1200" smtClean="0">
                <a:solidFill>
                  <a:srgbClr val="A0A0A0"/>
                </a:solidFill>
                <a:latin typeface="Source Sans Pro"/>
                <a:ea typeface="ＭＳ Ｐゴシック" charset="-128"/>
                <a:cs typeface="Source Sans Pro"/>
              </a:rPr>
              <a:pPr>
                <a:lnSpc>
                  <a:spcPct val="110000"/>
                </a:lnSpc>
                <a:spcBef>
                  <a:spcPts val="0"/>
                </a:spcBef>
                <a:defRPr/>
              </a:pPr>
              <a:t>‹Nº›</a:t>
            </a:fld>
            <a:endParaRPr lang="de-DE" sz="1100" b="0" kern="1200">
              <a:solidFill>
                <a:srgbClr val="A0A0A0"/>
              </a:solidFill>
              <a:latin typeface="Source Sans Pro"/>
              <a:ea typeface="ＭＳ Ｐゴシック" charset="-128"/>
              <a:cs typeface="Source Sans Pro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D203D8-23CF-B441-9982-4D839E6A66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963" y="476250"/>
            <a:ext cx="10521950" cy="6878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GB" dirty="0"/>
              <a:t>Click to edit Master titl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38852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25" r:id="rId2"/>
    <p:sldLayoutId id="2147483726" r:id="rId3"/>
    <p:sldLayoutId id="2147483728" r:id="rId4"/>
    <p:sldLayoutId id="2147483735" r:id="rId5"/>
    <p:sldLayoutId id="2147483729" r:id="rId6"/>
    <p:sldLayoutId id="2147483699" r:id="rId7"/>
    <p:sldLayoutId id="2147483736" r:id="rId8"/>
    <p:sldLayoutId id="2147483737" r:id="rId9"/>
    <p:sldLayoutId id="2147483739" r:id="rId10"/>
    <p:sldLayoutId id="2147483742" r:id="rId11"/>
    <p:sldLayoutId id="2147483732" r:id="rId12"/>
    <p:sldLayoutId id="2147483731" r:id="rId13"/>
    <p:sldLayoutId id="2147483733" r:id="rId14"/>
    <p:sldLayoutId id="2147483740" r:id="rId15"/>
    <p:sldLayoutId id="2147483734" r:id="rId16"/>
    <p:sldLayoutId id="2147483741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651" rtl="0" eaLnBrk="1" latinLnBrk="0" hangingPunct="1">
        <a:lnSpc>
          <a:spcPct val="90000"/>
        </a:lnSpc>
        <a:spcBef>
          <a:spcPct val="0"/>
        </a:spcBef>
        <a:buNone/>
        <a:defRPr lang="en-DE" sz="4000" b="1" kern="1200" dirty="0" smtClean="0">
          <a:solidFill>
            <a:schemeClr val="accent1"/>
          </a:solidFill>
          <a:latin typeface="Source Sans Pro" panose="020B0503030403020204" pitchFamily="34" charset="77"/>
          <a:ea typeface="+mn-ea"/>
          <a:cs typeface="+mn-cs"/>
        </a:defRPr>
      </a:lvl1pPr>
    </p:titleStyle>
    <p:bodyStyle>
      <a:lvl1pPr marL="228663" indent="-228663" algn="l" defTabSz="91465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989" indent="-228663" algn="l" defTabSz="9146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314" indent="-228663" algn="l" defTabSz="9146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640" indent="-228663" algn="l" defTabSz="9146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966" indent="-228663" algn="l" defTabSz="9146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5292" indent="-228663" algn="l" defTabSz="9146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617" indent="-228663" algn="l" defTabSz="9146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943" indent="-228663" algn="l" defTabSz="9146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7269" indent="-228663" algn="l" defTabSz="9146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326" algn="l" defTabSz="914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651" algn="l" defTabSz="914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977" algn="l" defTabSz="914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303" algn="l" defTabSz="914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629" algn="l" defTabSz="914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954" algn="l" defTabSz="914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280" algn="l" defTabSz="914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606" algn="l" defTabSz="914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531" userDrawn="1">
          <p15:clr>
            <a:srgbClr val="F26B43"/>
          </p15:clr>
        </p15:guide>
        <p15:guide id="3" pos="7153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5" pos="3842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jordimas96.github.io/pages/play-store/play-store.html" TargetMode="Externa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12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11" Type="http://schemas.openxmlformats.org/officeDocument/2006/relationships/hyperlink" Target="https://www.linkedin.com/in/jordimas96" TargetMode="External"/><Relationship Id="rId5" Type="http://schemas.openxmlformats.org/officeDocument/2006/relationships/oleObject" Target="../embeddings/oleObject2.bin"/><Relationship Id="rId10" Type="http://schemas.openxmlformats.org/officeDocument/2006/relationships/hyperlink" Target="https://jordimas96.github.io/" TargetMode="External"/><Relationship Id="rId4" Type="http://schemas.openxmlformats.org/officeDocument/2006/relationships/notesSlide" Target="../notesSlides/notesSlide1.xml"/><Relationship Id="rId9" Type="http://schemas.openxmlformats.org/officeDocument/2006/relationships/hyperlink" Target="mailto:xordimas@gmail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kt 65" hidden="1">
            <a:extLst>
              <a:ext uri="{FF2B5EF4-FFF2-40B4-BE49-F238E27FC236}">
                <a16:creationId xmlns:a16="http://schemas.microsoft.com/office/drawing/2014/main" id="{3695E66D-5BD9-D649-B0BF-05EF00A291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4425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66" name="Objekt 65" hidden="1">
                        <a:extLst>
                          <a:ext uri="{FF2B5EF4-FFF2-40B4-BE49-F238E27FC236}">
                            <a16:creationId xmlns:a16="http://schemas.microsoft.com/office/drawing/2014/main" id="{3695E66D-5BD9-D649-B0BF-05EF00A29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A1D9A6D-B71C-EF4F-8EFF-22C7AC99A0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16" y="476250"/>
            <a:ext cx="2514600" cy="839614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E70FA9FF-211A-1146-A6AC-C78CF0B168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3989" y="1497861"/>
            <a:ext cx="4191548" cy="823853"/>
          </a:xfrm>
        </p:spPr>
        <p:txBody>
          <a:bodyPr vert="horz">
            <a:noAutofit/>
          </a:bodyPr>
          <a:lstStyle/>
          <a:p>
            <a:r>
              <a:rPr lang="en-US" sz="3200" i="1" dirty="0">
                <a:latin typeface="Helvetica Oblique" pitchFamily="2" charset="0"/>
                <a:ea typeface="Osaka" panose="020B0600000000000000" pitchFamily="34" charset="-128"/>
                <a:cs typeface="Helvetica Neue" panose="02000503000000020004" pitchFamily="2" charset="0"/>
              </a:rPr>
              <a:t>Jordi Mas</a:t>
            </a:r>
            <a:br>
              <a:rPr lang="en-US" sz="3200" i="1" dirty="0">
                <a:latin typeface="Helvetica Oblique" pitchFamily="2" charset="0"/>
                <a:ea typeface="Osaka" panose="020B0600000000000000" pitchFamily="34" charset="-128"/>
                <a:cs typeface="Helvetica Neue" panose="02000503000000020004" pitchFamily="2" charset="0"/>
              </a:rPr>
            </a:br>
            <a:r>
              <a:rPr lang="en-US" sz="3200" i="1" dirty="0" err="1">
                <a:latin typeface="Helvetica Oblique" pitchFamily="2" charset="0"/>
                <a:ea typeface="Osaka" panose="020B0600000000000000" pitchFamily="34" charset="-128"/>
                <a:cs typeface="Helvetica Neue" panose="02000503000000020004" pitchFamily="2" charset="0"/>
              </a:rPr>
              <a:t>Parramon</a:t>
            </a:r>
            <a:endParaRPr lang="en-US" sz="3200" i="1" dirty="0">
              <a:latin typeface="Helvetica Oblique" pitchFamily="2" charset="0"/>
              <a:ea typeface="Osaka" panose="020B0600000000000000" pitchFamily="34" charset="-128"/>
              <a:cs typeface="Helvetica Neue" panose="02000503000000020004" pitchFamily="2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28785AC-9DEF-3541-8511-4FF0F29E41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75799" y="2734786"/>
            <a:ext cx="1786678" cy="411150"/>
          </a:xfrm>
        </p:spPr>
        <p:txBody>
          <a:bodyPr/>
          <a:lstStyle/>
          <a:p>
            <a:r>
              <a:rPr lang="en-US" sz="1800" b="1" dirty="0">
                <a:solidFill>
                  <a:srgbClr val="FFC000"/>
                </a:solidFill>
              </a:rPr>
              <a:t>About 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4597F54-F9E6-E842-8ABE-32958C63FB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91241" y="3063120"/>
            <a:ext cx="4512712" cy="3298246"/>
          </a:xfrm>
        </p:spPr>
        <p:txBody>
          <a:bodyPr lIns="91440" tIns="45720" rIns="91440" bIns="45720" anchor="t"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5">
                    <a:lumMod val="60000"/>
                    <a:lumOff val="40000"/>
                  </a:schemeClr>
                </a:solidFill>
                <a:latin typeface="Source Sans Pro"/>
                <a:ea typeface="Source Sans Pro"/>
              </a:rPr>
              <a:t>Web programmer with 5+ years of experienc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5">
                    <a:lumMod val="60000"/>
                    <a:lumOff val="40000"/>
                  </a:schemeClr>
                </a:solidFill>
                <a:latin typeface="Source Sans Pro"/>
                <a:ea typeface="Source Sans Pro"/>
              </a:rPr>
              <a:t>Occasional</a:t>
            </a:r>
            <a:r>
              <a:rPr lang="en-US" sz="1600" dirty="0">
                <a:solidFill>
                  <a:srgbClr val="00C2F0"/>
                </a:solidFill>
                <a:latin typeface="Source Sans Pro"/>
                <a:ea typeface="Source Sans Pro"/>
              </a:rPr>
              <a:t> </a:t>
            </a:r>
            <a:r>
              <a:rPr lang="en-US" sz="1600" dirty="0">
                <a:solidFill>
                  <a:srgbClr val="00C2F0"/>
                </a:solidFill>
                <a:latin typeface="Source Sans Pro"/>
                <a:ea typeface="Source Sans Pro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droid developer</a:t>
            </a:r>
            <a:endParaRPr lang="en-US" sz="1600" dirty="0">
              <a:solidFill>
                <a:srgbClr val="00C2F0"/>
              </a:solidFill>
              <a:latin typeface="Source Sans Pro"/>
              <a:ea typeface="Source Sans Pro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5">
                    <a:lumMod val="60000"/>
                    <a:lumOff val="40000"/>
                  </a:schemeClr>
                </a:solidFill>
                <a:latin typeface="Source Sans Pro"/>
                <a:ea typeface="Source Sans Pro"/>
              </a:rPr>
              <a:t>I studied a Double Higher Degree Training Course in Web and Multiplatform Application Development in Montilivi Institute, Girona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5">
                    <a:lumMod val="60000"/>
                    <a:lumOff val="40000"/>
                  </a:schemeClr>
                </a:solidFill>
                <a:latin typeface="Source Sans Pro"/>
                <a:ea typeface="Source Sans Pro"/>
              </a:rPr>
              <a:t>I LOVE CSS and visual desig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5">
                    <a:lumMod val="60000"/>
                    <a:lumOff val="40000"/>
                  </a:schemeClr>
                </a:solidFill>
                <a:latin typeface="Source Sans Pro"/>
                <a:ea typeface="Source Sans Pro"/>
              </a:rPr>
              <a:t>I was the main developer of a social network related to art, at In2art, where I was responsible for the frontend, design and part of the backend. I built the web page from scratch in Angular, CSS, and TypeScrip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5">
                  <a:lumMod val="60000"/>
                  <a:lumOff val="40000"/>
                </a:schemeClr>
              </a:solidFill>
              <a:latin typeface="Source Sans Pro"/>
              <a:ea typeface="Source Sans Pro"/>
            </a:endParaRPr>
          </a:p>
        </p:txBody>
      </p:sp>
      <p:sp>
        <p:nvSpPr>
          <p:cNvPr id="7" name="Textfeld 22">
            <a:extLst>
              <a:ext uri="{FF2B5EF4-FFF2-40B4-BE49-F238E27FC236}">
                <a16:creationId xmlns:a16="http://schemas.microsoft.com/office/drawing/2014/main" id="{302998E9-67EA-2265-EECC-25FD03C46E95}"/>
              </a:ext>
            </a:extLst>
          </p:cNvPr>
          <p:cNvSpPr txBox="1"/>
          <p:nvPr/>
        </p:nvSpPr>
        <p:spPr>
          <a:xfrm>
            <a:off x="9144059" y="5784638"/>
            <a:ext cx="2084659" cy="369366"/>
          </a:xfrm>
          <a:prstGeom prst="rect">
            <a:avLst/>
          </a:prstGeom>
          <a:noFill/>
        </p:spPr>
        <p:txBody>
          <a:bodyPr wrap="square" lIns="121954" tIns="60977" rIns="121954" bIns="60977" rtlCol="0">
            <a:spAutoFit/>
          </a:bodyPr>
          <a:lstStyle/>
          <a:p>
            <a:r>
              <a:rPr lang="en-US" sz="1600" b="1" dirty="0">
                <a:solidFill>
                  <a:srgbClr val="225999"/>
                </a:solidFill>
                <a:latin typeface="Source Sans Pro"/>
                <a:cs typeface="Source Sans Pro"/>
              </a:rPr>
              <a:t>+34 6xxxxxx80</a:t>
            </a:r>
          </a:p>
        </p:txBody>
      </p:sp>
      <p:sp>
        <p:nvSpPr>
          <p:cNvPr id="8" name="Textfeld 23">
            <a:extLst>
              <a:ext uri="{FF2B5EF4-FFF2-40B4-BE49-F238E27FC236}">
                <a16:creationId xmlns:a16="http://schemas.microsoft.com/office/drawing/2014/main" id="{2B7E3764-0DDB-1688-6CD4-53FB44BA5D8F}"/>
              </a:ext>
            </a:extLst>
          </p:cNvPr>
          <p:cNvSpPr txBox="1"/>
          <p:nvPr/>
        </p:nvSpPr>
        <p:spPr>
          <a:xfrm>
            <a:off x="9138597" y="6034862"/>
            <a:ext cx="2878464" cy="369366"/>
          </a:xfrm>
          <a:prstGeom prst="rect">
            <a:avLst/>
          </a:prstGeom>
          <a:noFill/>
        </p:spPr>
        <p:txBody>
          <a:bodyPr wrap="square" lIns="121954" tIns="60977" rIns="121954" bIns="60977" rtlCol="0">
            <a:spAutoFit/>
          </a:bodyPr>
          <a:lstStyle/>
          <a:p>
            <a:r>
              <a:rPr lang="en-US" sz="1600" b="1" dirty="0">
                <a:solidFill>
                  <a:srgbClr val="225999"/>
                </a:solidFill>
                <a:latin typeface="Source Sans Pro"/>
                <a:cs typeface="Source Sans Pro"/>
                <a:hlinkClick r:id="rId9"/>
              </a:rPr>
              <a:t>jordi.mas@evorait.com</a:t>
            </a:r>
            <a:endParaRPr lang="en-US" sz="1600" b="1" dirty="0">
              <a:solidFill>
                <a:srgbClr val="225999"/>
              </a:solidFill>
              <a:latin typeface="Source Sans Pro"/>
              <a:cs typeface="Source Sans Pro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F24E93E-A152-A24C-9581-62B7C5E3996C}"/>
              </a:ext>
            </a:extLst>
          </p:cNvPr>
          <p:cNvSpPr txBox="1">
            <a:spLocks/>
          </p:cNvSpPr>
          <p:nvPr/>
        </p:nvSpPr>
        <p:spPr>
          <a:xfrm>
            <a:off x="2964537" y="4144251"/>
            <a:ext cx="5239391" cy="81049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63" indent="-228663" algn="l" defTabSz="91465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685989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314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640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966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5292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617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943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7269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lnSpc>
                <a:spcPct val="100000"/>
              </a:lnSpc>
            </a:pPr>
            <a:endParaRPr lang="en-US" dirty="0">
              <a:latin typeface="Source Sans Pro"/>
              <a:ea typeface="Source Sans Pro"/>
            </a:endParaRP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B19ADF93-2EA8-3641-8175-F93BE6E322C5}"/>
              </a:ext>
            </a:extLst>
          </p:cNvPr>
          <p:cNvSpPr txBox="1">
            <a:spLocks/>
          </p:cNvSpPr>
          <p:nvPr/>
        </p:nvSpPr>
        <p:spPr>
          <a:xfrm>
            <a:off x="2991240" y="5611747"/>
            <a:ext cx="5239391" cy="99759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63" indent="-228663" algn="l" defTabSz="91465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685989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314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640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966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5292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617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943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7269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5">
                  <a:lumMod val="60000"/>
                  <a:lumOff val="40000"/>
                </a:schemeClr>
              </a:solidFill>
              <a:latin typeface="Source Sans Pro"/>
              <a:ea typeface="Source Sans Pro"/>
            </a:endParaRP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7BB61631-EB93-C1F9-0995-A1CA3C52F7BB}"/>
              </a:ext>
            </a:extLst>
          </p:cNvPr>
          <p:cNvSpPr txBox="1">
            <a:spLocks/>
          </p:cNvSpPr>
          <p:nvPr/>
        </p:nvSpPr>
        <p:spPr>
          <a:xfrm>
            <a:off x="7647533" y="1252994"/>
            <a:ext cx="3375203" cy="352367"/>
          </a:xfrm>
          <a:prstGeom prst="rect">
            <a:avLst/>
          </a:prstGeom>
        </p:spPr>
        <p:txBody>
          <a:bodyPr/>
          <a:lstStyle>
            <a:lvl1pPr marL="228663" indent="-228663" algn="l" defTabSz="914651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685989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314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640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966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5292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617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943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7269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FFC000"/>
                </a:solidFill>
              </a:rPr>
              <a:t>Hobbies</a:t>
            </a:r>
          </a:p>
          <a:p>
            <a:endParaRPr lang="en-US" sz="1800" dirty="0"/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3B2C9E31-83FA-7830-DE97-E416C8EB0AC1}"/>
              </a:ext>
            </a:extLst>
          </p:cNvPr>
          <p:cNvSpPr txBox="1">
            <a:spLocks/>
          </p:cNvSpPr>
          <p:nvPr/>
        </p:nvSpPr>
        <p:spPr>
          <a:xfrm>
            <a:off x="7455537" y="1605360"/>
            <a:ext cx="4742813" cy="211935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63" indent="-228663" algn="l" defTabSz="91465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685989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314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640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966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5292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617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943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7269" indent="-228663" algn="l" defTabSz="9146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5">
                    <a:lumMod val="60000"/>
                    <a:lumOff val="40000"/>
                  </a:schemeClr>
                </a:solidFill>
                <a:latin typeface="Source Sans Pro"/>
                <a:ea typeface="Source Sans Pro"/>
              </a:rPr>
              <a:t>I like programming, playing videogames, listening to music and watching series and movies, but also playing sports, going out with friends, driving with music and climbing.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5">
                    <a:lumMod val="60000"/>
                    <a:lumOff val="40000"/>
                  </a:schemeClr>
                </a:solidFill>
                <a:latin typeface="Source Sans Pro"/>
                <a:ea typeface="Source Sans Pro"/>
              </a:rPr>
              <a:t>I developed a web, a portfolio showing my experience and my projects, such as the android apps and games I developed in my free time. Take a look! </a:t>
            </a:r>
            <a:r>
              <a:rPr lang="en-US" sz="1600" dirty="0">
                <a:solidFill>
                  <a:srgbClr val="00C2F0"/>
                </a:solidFill>
                <a:latin typeface="Source Sans Pro"/>
                <a:ea typeface="Source Sans Pro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rdimas96.github.io</a:t>
            </a:r>
            <a:endParaRPr lang="en-US" sz="1600" dirty="0">
              <a:solidFill>
                <a:schemeClr val="accent5">
                  <a:lumMod val="60000"/>
                  <a:lumOff val="40000"/>
                </a:schemeClr>
              </a:solidFill>
              <a:latin typeface="Source Sans Pro"/>
              <a:ea typeface="Source Sans Pro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Source Sans Pro"/>
                <a:ea typeface="Source Sans Pro"/>
              </a:rPr>
              <a:t> 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8543A40-CB01-B610-92E0-4AF79FB355A4}"/>
              </a:ext>
            </a:extLst>
          </p:cNvPr>
          <p:cNvSpPr txBox="1"/>
          <p:nvPr/>
        </p:nvSpPr>
        <p:spPr>
          <a:xfrm>
            <a:off x="9146312" y="6361366"/>
            <a:ext cx="2863033" cy="369366"/>
          </a:xfrm>
          <a:prstGeom prst="rect">
            <a:avLst/>
          </a:prstGeom>
          <a:noFill/>
        </p:spPr>
        <p:txBody>
          <a:bodyPr wrap="square" lIns="121954" tIns="60977" rIns="121954" bIns="60977" rtlCol="0">
            <a:spAutoFit/>
          </a:bodyPr>
          <a:lstStyle/>
          <a:p>
            <a:r>
              <a:rPr lang="en-US" sz="1600" b="1" dirty="0">
                <a:solidFill>
                  <a:srgbClr val="225999"/>
                </a:solidFill>
                <a:latin typeface="Source Sans Pro"/>
                <a:cs typeface="Source Sans Pro"/>
              </a:rPr>
              <a:t>LinkedIn: </a:t>
            </a:r>
            <a:r>
              <a:rPr lang="en-US" sz="1600" b="1" dirty="0">
                <a:solidFill>
                  <a:srgbClr val="225999"/>
                </a:solidFill>
                <a:latin typeface="Source Sans Pro"/>
                <a:cs typeface="Source Sans Pro"/>
                <a:hlinkClick r:id="rId11"/>
              </a:rPr>
              <a:t>Jordi Mas</a:t>
            </a:r>
            <a:endParaRPr lang="en-US" sz="1600" b="1" dirty="0">
              <a:solidFill>
                <a:srgbClr val="225999"/>
              </a:solidFill>
              <a:latin typeface="Source Sans Pro"/>
              <a:cs typeface="Source Sans Pro"/>
            </a:endParaRPr>
          </a:p>
        </p:txBody>
      </p:sp>
      <p:pic>
        <p:nvPicPr>
          <p:cNvPr id="3" name="Picture 2" descr="A person with a beard and mustache&#10;&#10;Description automatically generated">
            <a:extLst>
              <a:ext uri="{FF2B5EF4-FFF2-40B4-BE49-F238E27FC236}">
                <a16:creationId xmlns:a16="http://schemas.microsoft.com/office/drawing/2014/main" id="{13AF378C-D6C1-4E78-B220-A6307A0BF94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481" y="1789245"/>
            <a:ext cx="1995619" cy="2662985"/>
          </a:xfrm>
          <a:prstGeom prst="roundRect">
            <a:avLst/>
          </a:prstGeom>
          <a:effectLst>
            <a:glow>
              <a:schemeClr val="accent1"/>
            </a:glow>
            <a:softEdge rad="0"/>
          </a:effectLst>
        </p:spPr>
      </p:pic>
      <p:pic>
        <p:nvPicPr>
          <p:cNvPr id="18" name="Imagen 17">
            <a:hlinkClick r:id="rId10"/>
            <a:extLst>
              <a:ext uri="{FF2B5EF4-FFF2-40B4-BE49-F238E27FC236}">
                <a16:creationId xmlns:a16="http://schemas.microsoft.com/office/drawing/2014/main" id="{93C4C086-A50C-4E4B-97B8-128EEE2140C3}"/>
              </a:ext>
            </a:extLst>
          </p:cNvPr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93460" y="3774052"/>
            <a:ext cx="1141674" cy="12712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603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09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ora2017NA">
  <a:themeElements>
    <a:clrScheme name="Evora">
      <a:dk1>
        <a:srgbClr val="000000"/>
      </a:dk1>
      <a:lt1>
        <a:srgbClr val="FFFFFF"/>
      </a:lt1>
      <a:dk2>
        <a:srgbClr val="0C3869"/>
      </a:dk2>
      <a:lt2>
        <a:srgbClr val="F2F2F2"/>
      </a:lt2>
      <a:accent1>
        <a:srgbClr val="225999"/>
      </a:accent1>
      <a:accent2>
        <a:srgbClr val="DF3215"/>
      </a:accent2>
      <a:accent3>
        <a:srgbClr val="F6A800"/>
      </a:accent3>
      <a:accent4>
        <a:srgbClr val="555555"/>
      </a:accent4>
      <a:accent5>
        <a:srgbClr val="A0A0A0"/>
      </a:accent5>
      <a:accent6>
        <a:srgbClr val="F2F2F2"/>
      </a:accent6>
      <a:hlink>
        <a:srgbClr val="225999"/>
      </a:hlink>
      <a:folHlink>
        <a:srgbClr val="225999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tIns="90000" bIns="90000" rtlCol="0" anchor="ctr" anchorCtr="0"/>
      <a:lstStyle>
        <a:defPPr algn="ctr">
          <a:defRPr sz="2000" dirty="0" smtClean="0">
            <a:latin typeface="Source Sans Pro" panose="020B0503030403020204" pitchFamily="34" charset="0"/>
            <a:ea typeface="Source Sans Pro" panose="020B0503030403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121954" tIns="60977" rIns="121954" bIns="60977" rtlCol="0">
        <a:spAutoFit/>
      </a:bodyPr>
      <a:lstStyle>
        <a:defPPr algn="l">
          <a:defRPr sz="2000" dirty="0" smtClean="0">
            <a:solidFill>
              <a:schemeClr val="accent4"/>
            </a:solidFill>
            <a:latin typeface="Source Sans Pro"/>
            <a:cs typeface="Source Sans Pro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vora Master Template 2021" id="{56EAC4D4-0B64-E84B-8B56-89DE79CFCA93}" vid="{BE1ED07D-1801-2E46-89F9-DD4A418775B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5049F78-B580-A445-AF51-13FF1164979E}">
  <we:reference id="f12c312d-282a-4734-8843-05915fdfef0b" version="4.3.3.0" store="EXCatalog" storeType="EXCatalog"/>
  <we:alternateReferences>
    <we:reference id="WA104178141" version="4.3.3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0248BF121004984AF08074C8597AE" ma:contentTypeVersion="15" ma:contentTypeDescription="Create a new document." ma:contentTypeScope="" ma:versionID="5fa39c45d76ac0867d3edd976096b666">
  <xsd:schema xmlns:xsd="http://www.w3.org/2001/XMLSchema" xmlns:xs="http://www.w3.org/2001/XMLSchema" xmlns:p="http://schemas.microsoft.com/office/2006/metadata/properties" xmlns:ns2="e3046dfb-56a8-4be6-bd32-9688fc43e2cd" xmlns:ns3="f313a4c4-d540-4077-be63-094ee14b3796" targetNamespace="http://schemas.microsoft.com/office/2006/metadata/properties" ma:root="true" ma:fieldsID="45469226afed19aeccb805ee351df8b8" ns2:_="" ns3:_="">
    <xsd:import namespace="e3046dfb-56a8-4be6-bd32-9688fc43e2cd"/>
    <xsd:import namespace="f313a4c4-d540-4077-be63-094ee14b379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046dfb-56a8-4be6-bd32-9688fc43e2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ae8dfe53-e5b0-4613-a932-06aa81f4912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13a4c4-d540-4077-be63-094ee14b379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74694465-1271-4ef3-8123-c54841308cf6}" ma:internalName="TaxCatchAll" ma:showField="CatchAllData" ma:web="f313a4c4-d540-4077-be63-094ee14b379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3046dfb-56a8-4be6-bd32-9688fc43e2cd">
      <Terms xmlns="http://schemas.microsoft.com/office/infopath/2007/PartnerControls"/>
    </lcf76f155ced4ddcb4097134ff3c332f>
    <TaxCatchAll xmlns="f313a4c4-d540-4077-be63-094ee14b3796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FA7266-B1A2-48B2-88BA-1D543853A3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046dfb-56a8-4be6-bd32-9688fc43e2cd"/>
    <ds:schemaRef ds:uri="f313a4c4-d540-4077-be63-094ee14b37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483A8EF-B953-4530-8FA4-4A72E0A870DD}">
  <ds:schemaRefs>
    <ds:schemaRef ds:uri="http://schemas.microsoft.com/office/2006/metadata/properties"/>
    <ds:schemaRef ds:uri="17e6da86-dea1-4720-8843-32fa5b48aba0"/>
    <ds:schemaRef ds:uri="http://www.w3.org/XML/1998/namespace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dcmitype/"/>
    <ds:schemaRef ds:uri="e3046dfb-56a8-4be6-bd32-9688fc43e2cd"/>
    <ds:schemaRef ds:uri="f313a4c4-d540-4077-be63-094ee14b3796"/>
  </ds:schemaRefs>
</ds:datastoreItem>
</file>

<file path=customXml/itemProps3.xml><?xml version="1.0" encoding="utf-8"?>
<ds:datastoreItem xmlns:ds="http://schemas.openxmlformats.org/officeDocument/2006/customXml" ds:itemID="{5700BD8C-2439-4901-96F0-44C1205CD03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vora Master Template</Template>
  <TotalTime>262</TotalTime>
  <Words>176</Words>
  <Application>Microsoft Office PowerPoint</Application>
  <PresentationFormat>Personalizado</PresentationFormat>
  <Paragraphs>16</Paragraphs>
  <Slides>1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7" baseType="lpstr">
      <vt:lpstr>Arial</vt:lpstr>
      <vt:lpstr>Calibri</vt:lpstr>
      <vt:lpstr>Helvetica Oblique</vt:lpstr>
      <vt:lpstr>Source Sans Pro</vt:lpstr>
      <vt:lpstr>Evora2017NA</vt:lpstr>
      <vt:lpstr>think-cell Folie</vt:lpstr>
      <vt:lpstr>Jordi Mas Parram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 Title here</dc:title>
  <dc:creator>Florian Ganz</dc:creator>
  <cp:lastModifiedBy>Jordi Mas</cp:lastModifiedBy>
  <cp:revision>21</cp:revision>
  <dcterms:created xsi:type="dcterms:W3CDTF">2022-09-15T13:07:35Z</dcterms:created>
  <dcterms:modified xsi:type="dcterms:W3CDTF">2024-04-17T13:2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874AF4D7894547B64B44C2B4DD3C61</vt:lpwstr>
  </property>
  <property fmtid="{D5CDD505-2E9C-101B-9397-08002B2CF9AE}" pid="3" name="MediaServiceImageTags">
    <vt:lpwstr/>
  </property>
</Properties>
</file>